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94" d="100"/>
          <a:sy n="94" d="100"/>
        </p:scale>
        <p:origin x="110" y="322"/>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815486757019116</c:v>
                </c:pt>
                <c:pt idx="1">
                  <c:v>27.818007744897127</c:v>
                </c:pt>
                <c:pt idx="2">
                  <c:v>29.441060058579893</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1.265706000000002</c:v>
                </c:pt>
                <c:pt idx="1">
                  <c:v>3.0259460000000011</c:v>
                </c:pt>
                <c:pt idx="2">
                  <c:v>3.657041999999997</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081192757019117</c:v>
                </c:pt>
                <c:pt idx="1">
                  <c:v>30.843953744897128</c:v>
                </c:pt>
                <c:pt idx="2">
                  <c:v>33.09810205857989</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5.66754889032258</c:v>
                </c:pt>
                <c:pt idx="1">
                  <c:v>137.7238295719165</c:v>
                </c:pt>
                <c:pt idx="2">
                  <c:v>141.3108254203015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8243667460489279</c:v>
                </c:pt>
                <c:pt idx="1">
                  <c:v>99.798346571567521</c:v>
                </c:pt>
                <c:pt idx="2">
                  <c:v>100.5414707948343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0.4919156363715</c:v>
                </c:pt>
                <c:pt idx="1">
                  <c:v>237.52217614348402</c:v>
                </c:pt>
                <c:pt idx="2">
                  <c:v>241.8522962151359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141.31082542030157</c:v>
                </c:pt>
                <c:pt idx="2">
                  <c:v>64.556878932812651</c:v>
                </c:pt>
                <c:pt idx="3">
                  <c:v>81.627631764391253</c:v>
                </c:pt>
                <c:pt idx="4">
                  <c:v>63.882970212107608</c:v>
                </c:pt>
                <c:pt idx="5">
                  <c:v>110.79140777066544</c:v>
                </c:pt>
                <c:pt idx="7">
                  <c:v>80.214722169994246</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100.54147079483438</c:v>
                </c:pt>
                <c:pt idx="2">
                  <c:v>129.88664755827159</c:v>
                </c:pt>
                <c:pt idx="3">
                  <c:v>124.16618138682196</c:v>
                </c:pt>
                <c:pt idx="4">
                  <c:v>137.99366374912742</c:v>
                </c:pt>
                <c:pt idx="5">
                  <c:v>117.42033303186679</c:v>
                </c:pt>
                <c:pt idx="7">
                  <c:v>127.36670643152195</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241.85229621513594</c:v>
                </c:pt>
                <c:pt idx="2">
                  <c:v>194.44352649108424</c:v>
                </c:pt>
                <c:pt idx="3">
                  <c:v>205.79381315121321</c:v>
                </c:pt>
                <c:pt idx="4">
                  <c:v>201.87663396123503</c:v>
                </c:pt>
                <c:pt idx="5">
                  <c:v>228.21174080253226</c:v>
                </c:pt>
                <c:pt idx="7">
                  <c:v>207.58142860151619</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262086332975999</c:v>
                </c:pt>
                <c:pt idx="2">
                  <c:v>2.5657567255378515</c:v>
                </c:pt>
                <c:pt idx="3">
                  <c:v>2.5688271030449252</c:v>
                </c:pt>
                <c:pt idx="4">
                  <c:v>2.6379899138874592</c:v>
                </c:pt>
                <c:pt idx="6">
                  <c:v>4.3350522160467335</c:v>
                </c:pt>
                <c:pt idx="7">
                  <c:v>4.3350522160467335</c:v>
                </c:pt>
                <c:pt idx="8">
                  <c:v>4.3434062845828425</c:v>
                </c:pt>
                <c:pt idx="9">
                  <c:v>4.462207446053521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370736332975997</c:v>
                </c:pt>
                <c:pt idx="5">
                  <c:v>2.548854913887459</c:v>
                </c:pt>
                <c:pt idx="10">
                  <c:v>2.61523944605352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33954809224025156</c:v>
                </c:pt>
                <c:pt idx="2">
                  <c:v>3.0703775070739189E-3</c:v>
                </c:pt>
                <c:pt idx="3">
                  <c:v>6.9162810842533798E-2</c:v>
                </c:pt>
                <c:pt idx="7">
                  <c:v>8.3540685361085838E-3</c:v>
                </c:pt>
                <c:pt idx="8">
                  <c:v>0.1188011614706786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6.0770697840725148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9135000000000006E-2</c:v>
                </c:pt>
                <c:pt idx="5">
                  <c:v>1.8469679999999999</c:v>
                </c:pt>
                <c:pt idx="10">
                  <c:v>1.860721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757833</c:v>
                </c:pt>
                <c:pt idx="9">
                  <c:v>1.3753000000000126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2262086332975999</c:v>
                </c:pt>
                <c:pt idx="5">
                  <c:v>4.3958229138874589</c:v>
                </c:pt>
                <c:pt idx="10">
                  <c:v>4.475960446053520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Re-integratie klassiek</c:v>
                </c:pt>
                <c:pt idx="3">
                  <c:v>Inwoners</c:v>
                </c:pt>
                <c:pt idx="4">
                  <c:v>Klantenpotentieel regionaal</c:v>
                </c:pt>
                <c:pt idx="5">
                  <c:v>Eenpersoonshuishoudens</c:v>
                </c:pt>
                <c:pt idx="6">
                  <c:v>Omgevingsadressendichtheid</c:v>
                </c:pt>
                <c:pt idx="7">
                  <c:v>Loonkostensubsidie</c:v>
                </c:pt>
                <c:pt idx="10">
                  <c:v>Overig</c:v>
                </c:pt>
              </c:strCache>
            </c:strRef>
          </c:cat>
          <c:val>
            <c:numRef>
              <c:f>Sheet1!$B$2:$B$12</c:f>
              <c:numCache>
                <c:formatCode>General</c:formatCode>
                <c:ptCount val="11"/>
                <c:pt idx="0">
                  <c:v>1.0448706736000011</c:v>
                </c:pt>
                <c:pt idx="1">
                  <c:v>0.61441449638399992</c:v>
                </c:pt>
                <c:pt idx="2">
                  <c:v>0.36590825014744005</c:v>
                </c:pt>
                <c:pt idx="3">
                  <c:v>0.22852295544000001</c:v>
                </c:pt>
                <c:pt idx="4">
                  <c:v>0.14176379359999999</c:v>
                </c:pt>
                <c:pt idx="5">
                  <c:v>0.11123457696000001</c:v>
                </c:pt>
                <c:pt idx="6">
                  <c:v>6.4422088642080003E-2</c:v>
                </c:pt>
                <c:pt idx="7">
                  <c:v>4.410261128000000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1.745023</c:v>
                </c:pt>
                <c:pt idx="1">
                  <c:v>8.6385000000000003E-2</c:v>
                </c:pt>
                <c:pt idx="2">
                  <c:v>2.9312999999999999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929361000068001</c:v>
                </c:pt>
                <c:pt idx="1">
                  <c:v>0.5152079909399665</c:v>
                </c:pt>
                <c:pt idx="2">
                  <c:v>0.5624769244038532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1506999999999998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929361000068001</c:v>
                </c:pt>
                <c:pt idx="1">
                  <c:v>0.5152079909399665</c:v>
                </c:pt>
                <c:pt idx="2">
                  <c:v>0.583983924403853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6.679806235483877</c:v>
                </c:pt>
                <c:pt idx="1">
                  <c:v>27.838547087046337</c:v>
                </c:pt>
                <c:pt idx="2">
                  <c:v>30.3926581511781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2100826714216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679806235483877</c:v>
                </c:pt>
                <c:pt idx="1">
                  <c:v>27.838547087046337</c:v>
                </c:pt>
                <c:pt idx="2">
                  <c:v>31.5547589778923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30.392658151178107</c:v>
                </c:pt>
                <c:pt idx="2">
                  <c:v>20.688901476053577</c:v>
                </c:pt>
                <c:pt idx="3">
                  <c:v>22.56968315190338</c:v>
                </c:pt>
                <c:pt idx="4">
                  <c:v>20.863464038056172</c:v>
                </c:pt>
                <c:pt idx="5">
                  <c:v>26.372239148442127</c:v>
                </c:pt>
                <c:pt idx="7">
                  <c:v>22.623571953613812</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1.1621008267142163</c:v>
                </c:pt>
                <c:pt idx="2">
                  <c:v>1.1582391433670434</c:v>
                </c:pt>
                <c:pt idx="3">
                  <c:v>1.1676372263560875</c:v>
                </c:pt>
                <c:pt idx="4">
                  <c:v>1.1600171830532138</c:v>
                </c:pt>
                <c:pt idx="5">
                  <c:v>1.1581103367558654</c:v>
                </c:pt>
                <c:pt idx="7">
                  <c:v>1.1610009723830526</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31.55475897789232</c:v>
                </c:pt>
                <c:pt idx="2">
                  <c:v>21.847140619420617</c:v>
                </c:pt>
                <c:pt idx="3">
                  <c:v>23.737320378259465</c:v>
                </c:pt>
                <c:pt idx="4">
                  <c:v>22.023481221109382</c:v>
                </c:pt>
                <c:pt idx="5">
                  <c:v>27.530349485197991</c:v>
                </c:pt>
                <c:pt idx="7">
                  <c:v>23.784572925996862</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8812344683095332</c:v>
                </c:pt>
                <c:pt idx="2">
                  <c:v>0.48812344683095332</c:v>
                </c:pt>
                <c:pt idx="3">
                  <c:v>0.50021170453759223</c:v>
                </c:pt>
                <c:pt idx="4">
                  <c:v>0.51520799093996661</c:v>
                </c:pt>
                <c:pt idx="6">
                  <c:v>0.51328565843628637</c:v>
                </c:pt>
                <c:pt idx="7">
                  <c:v>0.51328565843628637</c:v>
                </c:pt>
                <c:pt idx="8">
                  <c:v>0.53682168010759346</c:v>
                </c:pt>
                <c:pt idx="9">
                  <c:v>0.5624769244038532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929361000068001</c:v>
                </c:pt>
                <c:pt idx="5">
                  <c:v>0.5152079909399665</c:v>
                </c:pt>
                <c:pt idx="10">
                  <c:v>0.5624769244038532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2088257706638869E-2</c:v>
                </c:pt>
                <c:pt idx="3">
                  <c:v>1.4996286402374328E-2</c:v>
                </c:pt>
                <c:pt idx="7">
                  <c:v>2.3536021671307084E-2</c:v>
                </c:pt>
                <c:pt idx="8">
                  <c:v>2.565524429625971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8126531758468007E-3</c:v>
                </c:pt>
                <c:pt idx="6">
                  <c:v>1.922332503680080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1506999999999998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1506999999999998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929361000068001</c:v>
                </c:pt>
                <c:pt idx="5">
                  <c:v>0.5152079909399665</c:v>
                </c:pt>
                <c:pt idx="10">
                  <c:v>0.5839839244038531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met laag inkomen (drempel)</c:v>
                </c:pt>
                <c:pt idx="2">
                  <c:v>Inwoners</c:v>
                </c:pt>
                <c:pt idx="3">
                  <c:v>Eenouderhuishoudens</c:v>
                </c:pt>
                <c:pt idx="4">
                  <c:v>Omgevingsadressendichtheid</c:v>
                </c:pt>
                <c:pt idx="5">
                  <c:v>Minderheden</c:v>
                </c:pt>
                <c:pt idx="6">
                  <c:v>Bijstandsontvangers</c:v>
                </c:pt>
                <c:pt idx="7">
                  <c:v>Huishoudens</c:v>
                </c:pt>
                <c:pt idx="8">
                  <c:v>Klantenpotentieel regionaal</c:v>
                </c:pt>
                <c:pt idx="9">
                  <c:v>Uitkeringsontvangers</c:v>
                </c:pt>
                <c:pt idx="10">
                  <c:v>Overig</c:v>
                </c:pt>
              </c:strCache>
            </c:strRef>
          </c:cat>
          <c:val>
            <c:numRef>
              <c:f>Sheet1!$B$2:$B$12</c:f>
              <c:numCache>
                <c:formatCode>General</c:formatCode>
                <c:ptCount val="11"/>
                <c:pt idx="0">
                  <c:v>9.9591697399999998E-2</c:v>
                </c:pt>
                <c:pt idx="1">
                  <c:v>9.9386638104000002E-2</c:v>
                </c:pt>
                <c:pt idx="2">
                  <c:v>8.8604853480000009E-2</c:v>
                </c:pt>
                <c:pt idx="3">
                  <c:v>4.7489777920000004E-2</c:v>
                </c:pt>
                <c:pt idx="4">
                  <c:v>4.593056319852E-2</c:v>
                </c:pt>
                <c:pt idx="5">
                  <c:v>4.4687299800000004E-2</c:v>
                </c:pt>
                <c:pt idx="6">
                  <c:v>2.8539439066666703E-2</c:v>
                </c:pt>
                <c:pt idx="7">
                  <c:v>2.5583407200000002E-2</c:v>
                </c:pt>
                <c:pt idx="8">
                  <c:v>2.1207472000000002E-2</c:v>
                </c:pt>
                <c:pt idx="9">
                  <c:v>1.9656303506666709E-2</c:v>
                </c:pt>
                <c:pt idx="10">
                  <c:v>4.1799472727999776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64.25020334591454</c:v>
                </c:pt>
                <c:pt idx="1">
                  <c:v>1503.1073509967648</c:v>
                </c:pt>
                <c:pt idx="2">
                  <c:v>1590.8067249462308</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09.74810565057385</c:v>
                </c:pt>
                <c:pt idx="1">
                  <c:v>163.50278273085866</c:v>
                </c:pt>
                <c:pt idx="2">
                  <c:v>197.60317717620345</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73.9983089964885</c:v>
                </c:pt>
                <c:pt idx="1">
                  <c:v>1666.6101337276234</c:v>
                </c:pt>
                <c:pt idx="2">
                  <c:v>1788.4099021224342</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1506999999999998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5543580647040021</c:v>
                </c:pt>
                <c:pt idx="1">
                  <c:v>5.2159138508195433</c:v>
                </c:pt>
                <c:pt idx="2">
                  <c:v>5.33896106278112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56693800000000005</c:v>
                </c:pt>
                <c:pt idx="2">
                  <c:v>1.44856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5543580647040021</c:v>
                </c:pt>
                <c:pt idx="1">
                  <c:v>5.7828518508195437</c:v>
                </c:pt>
                <c:pt idx="2">
                  <c:v>6.78752206278112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9.56983851202011</c:v>
                </c:pt>
                <c:pt idx="1">
                  <c:v>1463.0894392200682</c:v>
                </c:pt>
                <c:pt idx="2">
                  <c:v>1497.604786193865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59.02889200561009</c:v>
                </c:pt>
                <c:pt idx="2">
                  <c:v>406.3284712482468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9.56983851202011</c:v>
                </c:pt>
                <c:pt idx="1">
                  <c:v>1622.1183312256785</c:v>
                </c:pt>
                <c:pt idx="2">
                  <c:v>1903.933257442112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1497.6047861938653</c:v>
                </c:pt>
                <c:pt idx="2">
                  <c:v>935.1593221419198</c:v>
                </c:pt>
                <c:pt idx="3">
                  <c:v>1038.7059854857014</c:v>
                </c:pt>
                <c:pt idx="4">
                  <c:v>882.75337803441334</c:v>
                </c:pt>
                <c:pt idx="5">
                  <c:v>1279.8740582798989</c:v>
                </c:pt>
                <c:pt idx="7">
                  <c:v>1034.123185985483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406.32847124824684</c:v>
                </c:pt>
                <c:pt idx="2">
                  <c:v>267.53971962616822</c:v>
                </c:pt>
                <c:pt idx="3">
                  <c:v>741.57815845824416</c:v>
                </c:pt>
                <c:pt idx="4">
                  <c:v>101.35244470314319</c:v>
                </c:pt>
                <c:pt idx="5">
                  <c:v>65.682953020134235</c:v>
                </c:pt>
                <c:pt idx="7">
                  <c:v>294.03831895192246</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1903.9332574421121</c:v>
                </c:pt>
                <c:pt idx="2">
                  <c:v>1202.6990417680879</c:v>
                </c:pt>
                <c:pt idx="3">
                  <c:v>1780.2841439439455</c:v>
                </c:pt>
                <c:pt idx="4">
                  <c:v>984.10582273755665</c:v>
                </c:pt>
                <c:pt idx="5">
                  <c:v>1345.5570113000331</c:v>
                </c:pt>
                <c:pt idx="7">
                  <c:v>1328.1615049374059</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1336504971462178</c:v>
                </c:pt>
                <c:pt idx="2">
                  <c:v>0.71336504971462178</c:v>
                </c:pt>
                <c:pt idx="3">
                  <c:v>5.1842326859434777</c:v>
                </c:pt>
                <c:pt idx="4">
                  <c:v>5.2159138508195442</c:v>
                </c:pt>
                <c:pt idx="6">
                  <c:v>5.7745536526654551</c:v>
                </c:pt>
                <c:pt idx="7">
                  <c:v>5.6630274634601276</c:v>
                </c:pt>
                <c:pt idx="8">
                  <c:v>5.6630274634601276</c:v>
                </c:pt>
                <c:pt idx="9">
                  <c:v>5.90589906278113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5543580647040021</c:v>
                </c:pt>
                <c:pt idx="5">
                  <c:v>5.2159138508195433</c:v>
                </c:pt>
                <c:pt idx="10">
                  <c:v>5.33896106278112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4708676362288555</c:v>
                </c:pt>
                <c:pt idx="3">
                  <c:v>3.168116487606612E-2</c:v>
                </c:pt>
                <c:pt idx="8">
                  <c:v>0.242871599321002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2070756755778427E-2</c:v>
                </c:pt>
                <c:pt idx="6">
                  <c:v>8.2981981540889461E-3</c:v>
                </c:pt>
                <c:pt idx="7">
                  <c:v>0.1115261892053272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56693800000000005</c:v>
                </c:pt>
                <c:pt idx="10">
                  <c:v>1.44856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56693800000000005</c:v>
                </c:pt>
                <c:pt idx="9">
                  <c:v>0.8816229999999999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5543580647040021</c:v>
                </c:pt>
                <c:pt idx="5">
                  <c:v>5.7828518508195437</c:v>
                </c:pt>
                <c:pt idx="10">
                  <c:v>6.78752206278112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Gem. gestand. inkomen (huish. kinderen)</c:v>
                </c:pt>
                <c:pt idx="4">
                  <c:v>Ouders lang psychisch medicijngebruik</c:v>
                </c:pt>
                <c:pt idx="5">
                  <c:v>Eenouderhuishoudens</c:v>
                </c:pt>
                <c:pt idx="6">
                  <c:v>Eenouderhuishoudens 2 of meer kinderen</c:v>
                </c:pt>
                <c:pt idx="7">
                  <c:v>Bijstandsont. eenouderhuishoudens</c:v>
                </c:pt>
                <c:pt idx="8">
                  <c:v>BO leerlingen, leerlingengewicht 0,3</c:v>
                </c:pt>
                <c:pt idx="9">
                  <c:v>Huishoudens laag inkomen (drempel)</c:v>
                </c:pt>
                <c:pt idx="10">
                  <c:v>Overig</c:v>
                </c:pt>
              </c:strCache>
            </c:strRef>
          </c:cat>
          <c:val>
            <c:numRef>
              <c:f>Sheet1!$B$2:$B$12</c:f>
              <c:numCache>
                <c:formatCode>General</c:formatCode>
                <c:ptCount val="11"/>
                <c:pt idx="0">
                  <c:v>2.9310302034000002</c:v>
                </c:pt>
                <c:pt idx="1">
                  <c:v>1.7928332572800005</c:v>
                </c:pt>
                <c:pt idx="2">
                  <c:v>-1.0437586476512</c:v>
                </c:pt>
                <c:pt idx="3">
                  <c:v>-0.90691705671839995</c:v>
                </c:pt>
                <c:pt idx="4">
                  <c:v>0.76109976313278316</c:v>
                </c:pt>
                <c:pt idx="5">
                  <c:v>0.75368118592000011</c:v>
                </c:pt>
                <c:pt idx="6">
                  <c:v>0.47808141471999999</c:v>
                </c:pt>
                <c:pt idx="7">
                  <c:v>0.2989320204</c:v>
                </c:pt>
                <c:pt idx="8">
                  <c:v>-0.20002334352000001</c:v>
                </c:pt>
                <c:pt idx="9">
                  <c:v>0.18677718165599999</c:v>
                </c:pt>
                <c:pt idx="10">
                  <c:v>0.2872250841619461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1.4706649999999999</c:v>
                </c:pt>
                <c:pt idx="1">
                  <c:v>0</c:v>
                </c:pt>
                <c:pt idx="6">
                  <c:v>-2.2103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947853172611999</c:v>
                </c:pt>
                <c:pt idx="1">
                  <c:v>7.2579026290773658</c:v>
                </c:pt>
                <c:pt idx="2">
                  <c:v>7.757911023086691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93959</c:v>
                </c:pt>
                <c:pt idx="1">
                  <c:v>-1.8990000000000001E-3</c:v>
                </c:pt>
                <c:pt idx="2">
                  <c:v>1.184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0887443172611997</c:v>
                </c:pt>
                <c:pt idx="1">
                  <c:v>7.256003629077366</c:v>
                </c:pt>
                <c:pt idx="2">
                  <c:v>7.76976102308669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0.4408593451613</c:v>
                </c:pt>
                <c:pt idx="1">
                  <c:v>392.17067212824151</c:v>
                </c:pt>
                <c:pt idx="2">
                  <c:v>419.1879301392279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0.859439272569816</c:v>
                </c:pt>
                <c:pt idx="1">
                  <c:v>-0.10260982331009888</c:v>
                </c:pt>
                <c:pt idx="2">
                  <c:v>0.6402982655211542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1.30029861773107</c:v>
                </c:pt>
                <c:pt idx="1">
                  <c:v>392.0680623049314</c:v>
                </c:pt>
                <c:pt idx="2">
                  <c:v>419.82822840474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419.18793013922794</c:v>
                </c:pt>
                <c:pt idx="2">
                  <c:v>334.40440098984982</c:v>
                </c:pt>
                <c:pt idx="3">
                  <c:v>385.86195997345806</c:v>
                </c:pt>
                <c:pt idx="4">
                  <c:v>320.43496203558732</c:v>
                </c:pt>
                <c:pt idx="5">
                  <c:v>393.95832882784163</c:v>
                </c:pt>
                <c:pt idx="7">
                  <c:v>358.66491295668419</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0.64029826552115421</c:v>
                </c:pt>
                <c:pt idx="2">
                  <c:v>1.2817046130549998</c:v>
                </c:pt>
                <c:pt idx="3">
                  <c:v>1.405693950177936</c:v>
                </c:pt>
                <c:pt idx="4">
                  <c:v>0.89083391505128062</c:v>
                </c:pt>
                <c:pt idx="5">
                  <c:v>0.75650369739852108</c:v>
                </c:pt>
                <c:pt idx="7">
                  <c:v>1.083684043920684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419.8282284047491</c:v>
                </c:pt>
                <c:pt idx="2">
                  <c:v>335.68610560290483</c:v>
                </c:pt>
                <c:pt idx="3">
                  <c:v>387.26765392363603</c:v>
                </c:pt>
                <c:pt idx="4">
                  <c:v>321.32579595063862</c:v>
                </c:pt>
                <c:pt idx="5">
                  <c:v>394.71483252524013</c:v>
                </c:pt>
                <c:pt idx="7">
                  <c:v>359.74859700060489</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92214411727789569</c:v>
                </c:pt>
                <c:pt idx="1">
                  <c:v>0.93202635392184363</c:v>
                </c:pt>
                <c:pt idx="2">
                  <c:v>0.95832633110684262</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92214411727789569</c:v>
                </c:pt>
                <c:pt idx="1">
                  <c:v>0.93202635392184363</c:v>
                </c:pt>
                <c:pt idx="2">
                  <c:v>0.95832633110684262</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0887443172611997</c:v>
                </c:pt>
                <c:pt idx="2">
                  <c:v>4.2064805418028062</c:v>
                </c:pt>
                <c:pt idx="3">
                  <c:v>8.4044081630836089</c:v>
                </c:pt>
                <c:pt idx="4">
                  <c:v>7.256003629077366</c:v>
                </c:pt>
                <c:pt idx="6">
                  <c:v>7.2560036290773642</c:v>
                </c:pt>
                <c:pt idx="7">
                  <c:v>7.3862649872433117</c:v>
                </c:pt>
                <c:pt idx="8">
                  <c:v>7.3968034759120922</c:v>
                </c:pt>
                <c:pt idx="9">
                  <c:v>7.7560120230866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5947853172611999</c:v>
                </c:pt>
                <c:pt idx="5">
                  <c:v>7.2579026290773641</c:v>
                </c:pt>
                <c:pt idx="10">
                  <c:v>7.75791102308668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1773622454160662</c:v>
                </c:pt>
                <c:pt idx="2">
                  <c:v>4.1979276212808019</c:v>
                </c:pt>
                <c:pt idx="3">
                  <c:v>0.34745346599375654</c:v>
                </c:pt>
                <c:pt idx="6">
                  <c:v>0.13026135816594719</c:v>
                </c:pt>
                <c:pt idx="7">
                  <c:v>1.0538488668780434E-2</c:v>
                </c:pt>
                <c:pt idx="8">
                  <c:v>0.3592085471745982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493959</c:v>
                </c:pt>
                <c:pt idx="5">
                  <c:v>-1.8990000000000951E-3</c:v>
                </c:pt>
                <c:pt idx="10">
                  <c:v>1.1849999999999904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3748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495858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0887443172611997</c:v>
                </c:pt>
                <c:pt idx="5">
                  <c:v>7.2560036290773642</c:v>
                </c:pt>
                <c:pt idx="10">
                  <c:v>7.76976102308668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Ouderen</c:v>
                </c:pt>
                <c:pt idx="4">
                  <c:v>Wajong</c:v>
                </c:pt>
                <c:pt idx="5">
                  <c:v>Uitkeringsont. min bijstandsont.</c:v>
                </c:pt>
                <c:pt idx="6">
                  <c:v>Gem. gestandaardiseerd inkomen 75 t/m 84</c:v>
                </c:pt>
                <c:pt idx="7">
                  <c:v>Klantenpotentieel lokaal</c:v>
                </c:pt>
                <c:pt idx="8">
                  <c:v>Huishoudens</c:v>
                </c:pt>
                <c:pt idx="9">
                  <c:v>Uitkeringsontvangers</c:v>
                </c:pt>
                <c:pt idx="10">
                  <c:v>Overig</c:v>
                </c:pt>
              </c:strCache>
            </c:strRef>
          </c:cat>
          <c:val>
            <c:numRef>
              <c:f>Sheet1!$B$2:$B$12</c:f>
              <c:numCache>
                <c:formatCode>General</c:formatCode>
                <c:ptCount val="11"/>
                <c:pt idx="0">
                  <c:v>1.5657899899943328</c:v>
                </c:pt>
                <c:pt idx="1">
                  <c:v>1.1943821067359999</c:v>
                </c:pt>
                <c:pt idx="2">
                  <c:v>1.0128399918000002</c:v>
                </c:pt>
                <c:pt idx="3">
                  <c:v>0.63283267319999992</c:v>
                </c:pt>
                <c:pt idx="4">
                  <c:v>0.58085969760000011</c:v>
                </c:pt>
                <c:pt idx="5">
                  <c:v>0.40225345055999995</c:v>
                </c:pt>
                <c:pt idx="6">
                  <c:v>0.30702996382687198</c:v>
                </c:pt>
                <c:pt idx="7">
                  <c:v>0.26084174999999998</c:v>
                </c:pt>
                <c:pt idx="8">
                  <c:v>0.2494382202</c:v>
                </c:pt>
                <c:pt idx="9">
                  <c:v>0.2051217717466671</c:v>
                </c:pt>
                <c:pt idx="10">
                  <c:v>1.3465214074228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1.184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704807852035999</c:v>
                </c:pt>
                <c:pt idx="1">
                  <c:v>1.9879687195608999</c:v>
                </c:pt>
                <c:pt idx="2">
                  <c:v>2.08486419809512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7876000000000001E-2</c:v>
                </c:pt>
                <c:pt idx="1">
                  <c:v>2.7876000000000001E-2</c:v>
                </c:pt>
                <c:pt idx="2">
                  <c:v>2.7876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983567852035999</c:v>
                </c:pt>
                <c:pt idx="1">
                  <c:v>2.0158447195608997</c:v>
                </c:pt>
                <c:pt idx="2">
                  <c:v>2.11274019809512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94.47447558434123</c:v>
                </c:pt>
                <c:pt idx="1">
                  <c:v>557.63498444906031</c:v>
                </c:pt>
                <c:pt idx="2">
                  <c:v>584.814641821913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9952321204516936</c:v>
                </c:pt>
                <c:pt idx="1">
                  <c:v>7.8193548387096774</c:v>
                </c:pt>
                <c:pt idx="2">
                  <c:v>7.819354838709677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01.46970770479294</c:v>
                </c:pt>
                <c:pt idx="1">
                  <c:v>565.45433928776993</c:v>
                </c:pt>
                <c:pt idx="2">
                  <c:v>592.6339966606228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584.81464182191314</c:v>
                </c:pt>
                <c:pt idx="2">
                  <c:v>393.03924085813082</c:v>
                </c:pt>
                <c:pt idx="3">
                  <c:v>531.63008987494652</c:v>
                </c:pt>
                <c:pt idx="4">
                  <c:v>544.39172211883601</c:v>
                </c:pt>
                <c:pt idx="5">
                  <c:v>684.30491386748997</c:v>
                </c:pt>
                <c:pt idx="7">
                  <c:v>538.34149167985083</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7.8193548387096774</c:v>
                </c:pt>
                <c:pt idx="2">
                  <c:v>9.2844626168224291</c:v>
                </c:pt>
                <c:pt idx="3">
                  <c:v>8.3613490364025704</c:v>
                </c:pt>
                <c:pt idx="4">
                  <c:v>8.282596041909196</c:v>
                </c:pt>
                <c:pt idx="5">
                  <c:v>8.4453691275167788</c:v>
                </c:pt>
                <c:pt idx="7">
                  <c:v>8.5934442056627436</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592.63399666062287</c:v>
                </c:pt>
                <c:pt idx="2">
                  <c:v>402.32370347495322</c:v>
                </c:pt>
                <c:pt idx="3">
                  <c:v>539.99143891134906</c:v>
                </c:pt>
                <c:pt idx="4">
                  <c:v>552.6743181607452</c:v>
                </c:pt>
                <c:pt idx="5">
                  <c:v>692.75028299500661</c:v>
                </c:pt>
                <c:pt idx="7">
                  <c:v>546.9349358855136</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145410285938551</c:v>
                </c:pt>
                <c:pt idx="2">
                  <c:v>1.9145410285938551</c:v>
                </c:pt>
                <c:pt idx="3">
                  <c:v>1.981434443682613</c:v>
                </c:pt>
                <c:pt idx="4">
                  <c:v>2.0158447195609002</c:v>
                </c:pt>
                <c:pt idx="6">
                  <c:v>2.0157396981553442</c:v>
                </c:pt>
                <c:pt idx="7">
                  <c:v>2.0157396981553442</c:v>
                </c:pt>
                <c:pt idx="8">
                  <c:v>2.0157396981553442</c:v>
                </c:pt>
                <c:pt idx="9">
                  <c:v>2.11274019809512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704807852035999</c:v>
                </c:pt>
                <c:pt idx="5">
                  <c:v>1.9879687195608999</c:v>
                </c:pt>
                <c:pt idx="10">
                  <c:v>2.08486419809512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6893415088757832E-2</c:v>
                </c:pt>
                <c:pt idx="3">
                  <c:v>3.4410275878286947E-2</c:v>
                </c:pt>
                <c:pt idx="8">
                  <c:v>9.700049993977616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3815756609744788E-2</c:v>
                </c:pt>
                <c:pt idx="6">
                  <c:v>1.0502140555573428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7876000000000001E-2</c:v>
                </c:pt>
                <c:pt idx="5">
                  <c:v>2.7876000000000001E-2</c:v>
                </c:pt>
                <c:pt idx="10">
                  <c:v>2.7876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983567852035999</c:v>
                </c:pt>
                <c:pt idx="5">
                  <c:v>2.0158447195608997</c:v>
                </c:pt>
                <c:pt idx="10">
                  <c:v>2.11274019809512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Huishoudens laag inkomen (drempel)</c:v>
                </c:pt>
                <c:pt idx="3">
                  <c:v>Minderheden</c:v>
                </c:pt>
                <c:pt idx="4">
                  <c:v>Omgevingsadressendichtheid</c:v>
                </c:pt>
                <c:pt idx="5">
                  <c:v>Inwoners</c:v>
                </c:pt>
                <c:pt idx="6">
                  <c:v>Land</c:v>
                </c:pt>
                <c:pt idx="7">
                  <c:v>Kernen</c:v>
                </c:pt>
                <c:pt idx="8">
                  <c:v>Binnenwater</c:v>
                </c:pt>
                <c:pt idx="9">
                  <c:v>Klantenpotentieel regionaal</c:v>
                </c:pt>
                <c:pt idx="10">
                  <c:v>Overig</c:v>
                </c:pt>
              </c:strCache>
            </c:strRef>
          </c:cat>
          <c:val>
            <c:numRef>
              <c:f>Sheet1!$B$2:$B$12</c:f>
              <c:numCache>
                <c:formatCode>General</c:formatCode>
                <c:ptCount val="11"/>
                <c:pt idx="0">
                  <c:v>1.0493620280000002</c:v>
                </c:pt>
                <c:pt idx="1">
                  <c:v>0.71692135715200001</c:v>
                </c:pt>
                <c:pt idx="2">
                  <c:v>0.13976455412399999</c:v>
                </c:pt>
                <c:pt idx="3">
                  <c:v>6.1962459000000004E-2</c:v>
                </c:pt>
                <c:pt idx="4">
                  <c:v>5.6866411579120001E-2</c:v>
                </c:pt>
                <c:pt idx="5">
                  <c:v>3.1026615360000006E-2</c:v>
                </c:pt>
                <c:pt idx="6">
                  <c:v>1.7516556200000002E-2</c:v>
                </c:pt>
                <c:pt idx="7">
                  <c:v>7.1285702799999996E-3</c:v>
                </c:pt>
                <c:pt idx="8">
                  <c:v>3.1737056000000008E-3</c:v>
                </c:pt>
                <c:pt idx="9">
                  <c:v>1.1419408000000004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2.7876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2696868036559997</c:v>
                </c:pt>
                <c:pt idx="1">
                  <c:v>0.16523526574373329</c:v>
                </c:pt>
                <c:pt idx="2">
                  <c:v>0.1728059480381866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2696868036559997</c:v>
                </c:pt>
                <c:pt idx="1">
                  <c:v>0.16523526574373329</c:v>
                </c:pt>
                <c:pt idx="2">
                  <c:v>0.1728059480381866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188188686000003</c:v>
                </c:pt>
                <c:pt idx="1">
                  <c:v>-2.4767185358999999</c:v>
                </c:pt>
                <c:pt idx="2">
                  <c:v>-2.328698939840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188188686000003</c:v>
                </c:pt>
                <c:pt idx="1">
                  <c:v>-2.4767185358999999</c:v>
                </c:pt>
                <c:pt idx="2">
                  <c:v>-2.328698939840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8720870516129011</c:v>
                </c:pt>
                <c:pt idx="1">
                  <c:v>8.9282577264674607</c:v>
                </c:pt>
                <c:pt idx="2">
                  <c:v>9.337329012707982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8720870516129011</c:v>
                </c:pt>
                <c:pt idx="1">
                  <c:v>8.9282577264674607</c:v>
                </c:pt>
                <c:pt idx="2">
                  <c:v>9.337329012707982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9.3373290127079827</c:v>
                </c:pt>
                <c:pt idx="2">
                  <c:v>6.917807401026085</c:v>
                </c:pt>
                <c:pt idx="3">
                  <c:v>7.5309707004852804</c:v>
                </c:pt>
                <c:pt idx="4">
                  <c:v>6.9536969909638628</c:v>
                </c:pt>
                <c:pt idx="5">
                  <c:v>8.4182188795517021</c:v>
                </c:pt>
                <c:pt idx="7">
                  <c:v>7.4551734930067326</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9.3373290127079827</c:v>
                </c:pt>
                <c:pt idx="2">
                  <c:v>6.917807401026085</c:v>
                </c:pt>
                <c:pt idx="3">
                  <c:v>7.5309707004852804</c:v>
                </c:pt>
                <c:pt idx="4">
                  <c:v>6.9536969909638628</c:v>
                </c:pt>
                <c:pt idx="5">
                  <c:v>8.4182188795517021</c:v>
                </c:pt>
                <c:pt idx="7">
                  <c:v>7.4551734930067326</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2575155900003929</c:v>
                </c:pt>
                <c:pt idx="2">
                  <c:v>0.12575155900003929</c:v>
                </c:pt>
                <c:pt idx="3">
                  <c:v>0.16152317329316679</c:v>
                </c:pt>
                <c:pt idx="4">
                  <c:v>0.16523526574373332</c:v>
                </c:pt>
                <c:pt idx="6">
                  <c:v>0.16476738432429897</c:v>
                </c:pt>
                <c:pt idx="7">
                  <c:v>0.16476738432429897</c:v>
                </c:pt>
                <c:pt idx="8">
                  <c:v>0.16476738432429897</c:v>
                </c:pt>
                <c:pt idx="9">
                  <c:v>0.1728059480381866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2696868036559997</c:v>
                </c:pt>
                <c:pt idx="5">
                  <c:v>0.16523526574373329</c:v>
                </c:pt>
                <c:pt idx="10">
                  <c:v>0.1728059480381866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5771614293127488E-2</c:v>
                </c:pt>
                <c:pt idx="3">
                  <c:v>3.7120924505665222E-3</c:v>
                </c:pt>
                <c:pt idx="8">
                  <c:v>8.0385637138876836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2171213655606822E-3</c:v>
                </c:pt>
                <c:pt idx="6">
                  <c:v>4.6788141943433748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2696868036559997</c:v>
                </c:pt>
                <c:pt idx="5">
                  <c:v>0.16523526574373329</c:v>
                </c:pt>
                <c:pt idx="10">
                  <c:v>0.1728059480381866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Huishoudens laag inkomen (drempel)</c:v>
                </c:pt>
                <c:pt idx="2">
                  <c:v>Inwoners</c:v>
                </c:pt>
                <c:pt idx="3">
                  <c:v>Eenouderhuishoudens</c:v>
                </c:pt>
                <c:pt idx="4">
                  <c:v>Omgevingsadressendichtheid</c:v>
                </c:pt>
                <c:pt idx="5">
                  <c:v>Minderheden</c:v>
                </c:pt>
                <c:pt idx="6">
                  <c:v>Bijstandsontvangers</c:v>
                </c:pt>
                <c:pt idx="7">
                  <c:v>Huishoudens</c:v>
                </c:pt>
                <c:pt idx="8">
                  <c:v>Klantenpotentieel regionaal</c:v>
                </c:pt>
                <c:pt idx="9">
                  <c:v>Uitkeringsontvangers</c:v>
                </c:pt>
                <c:pt idx="10">
                  <c:v>Overig</c:v>
                </c:pt>
              </c:strCache>
            </c:strRef>
          </c:cat>
          <c:val>
            <c:numRef>
              <c:f>Sheet1!$B$2:$B$12</c:f>
              <c:numCache>
                <c:formatCode>General</c:formatCode>
                <c:ptCount val="11"/>
                <c:pt idx="0">
                  <c:v>5.8904495000000001E-2</c:v>
                </c:pt>
                <c:pt idx="1">
                  <c:v>2.4193240967999997E-2</c:v>
                </c:pt>
                <c:pt idx="2">
                  <c:v>2.2971628680000002E-2</c:v>
                </c:pt>
                <c:pt idx="3">
                  <c:v>1.1567454080000001E-2</c:v>
                </c:pt>
                <c:pt idx="4">
                  <c:v>1.1134681987520002E-2</c:v>
                </c:pt>
                <c:pt idx="5">
                  <c:v>1.08674592E-2</c:v>
                </c:pt>
                <c:pt idx="6">
                  <c:v>6.7953591333333417E-3</c:v>
                </c:pt>
                <c:pt idx="7">
                  <c:v>6.2537217600000007E-3</c:v>
                </c:pt>
                <c:pt idx="8">
                  <c:v>5.0571664000000002E-3</c:v>
                </c:pt>
                <c:pt idx="9">
                  <c:v>4.7635782133333433E-3</c:v>
                </c:pt>
                <c:pt idx="10">
                  <c:v>1.029716261599994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575303952000008</c:v>
                </c:pt>
                <c:pt idx="1">
                  <c:v>3.8846094041799999</c:v>
                </c:pt>
                <c:pt idx="2">
                  <c:v>4.0741641896800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9586999999999996E-2</c:v>
                </c:pt>
                <c:pt idx="1">
                  <c:v>8.5967000000000002E-2</c:v>
                </c:pt>
                <c:pt idx="2">
                  <c:v>8.6507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271173952000006</c:v>
                </c:pt>
                <c:pt idx="1">
                  <c:v>3.97057640418</c:v>
                </c:pt>
                <c:pt idx="2">
                  <c:v>4.1606711896800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220.14179443886098</c:v>
                </c:pt>
                <c:pt idx="2">
                  <c:v>178.14824509437022</c:v>
                </c:pt>
                <c:pt idx="3">
                  <c:v>184.85799483446567</c:v>
                </c:pt>
                <c:pt idx="4">
                  <c:v>177.35981483327069</c:v>
                </c:pt>
                <c:pt idx="5">
                  <c:v>188.14526392296645</c:v>
                </c:pt>
                <c:pt idx="7">
                  <c:v>182.12782967126827</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4.6742854055222347</c:v>
                </c:pt>
                <c:pt idx="2">
                  <c:v>8.6391758152614777</c:v>
                </c:pt>
                <c:pt idx="3">
                  <c:v>4.3475142887954279</c:v>
                </c:pt>
                <c:pt idx="4">
                  <c:v>3.4900391988401438</c:v>
                </c:pt>
                <c:pt idx="5">
                  <c:v>4.7554928978028412</c:v>
                </c:pt>
                <c:pt idx="7">
                  <c:v>5.3080555501749727</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224.81607984438321</c:v>
                </c:pt>
                <c:pt idx="2">
                  <c:v>186.78742090963172</c:v>
                </c:pt>
                <c:pt idx="3">
                  <c:v>189.20550912326112</c:v>
                </c:pt>
                <c:pt idx="4">
                  <c:v>180.84985403211084</c:v>
                </c:pt>
                <c:pt idx="5">
                  <c:v>192.90075682076929</c:v>
                </c:pt>
                <c:pt idx="7">
                  <c:v>187.43588522144324</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8271173952000006</c:v>
                </c:pt>
                <c:pt idx="2">
                  <c:v>3.8354258380566293</c:v>
                </c:pt>
                <c:pt idx="3">
                  <c:v>3.8354258380566293</c:v>
                </c:pt>
                <c:pt idx="4">
                  <c:v>3.9541964041800002</c:v>
                </c:pt>
                <c:pt idx="6">
                  <c:v>3.97057640418</c:v>
                </c:pt>
                <c:pt idx="7">
                  <c:v>3.97057640418</c:v>
                </c:pt>
                <c:pt idx="8">
                  <c:v>3.97057640418</c:v>
                </c:pt>
                <c:pt idx="9">
                  <c:v>4.1601311896800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7575303952000008</c:v>
                </c:pt>
                <c:pt idx="5">
                  <c:v>3.8846094041799999</c:v>
                </c:pt>
                <c:pt idx="10">
                  <c:v>4.07416418968000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308442856628467E-3</c:v>
                </c:pt>
                <c:pt idx="3">
                  <c:v>0.11877056612337067</c:v>
                </c:pt>
                <c:pt idx="8">
                  <c:v>0.1895547855000003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9586999999999996E-2</c:v>
                </c:pt>
                <c:pt idx="5">
                  <c:v>8.5967000000000002E-2</c:v>
                </c:pt>
                <c:pt idx="10">
                  <c:v>8.6507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6380000000000006E-2</c:v>
                </c:pt>
                <c:pt idx="9">
                  <c:v>5.3999999999999881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8271173952000006</c:v>
                </c:pt>
                <c:pt idx="5">
                  <c:v>3.97057640418</c:v>
                </c:pt>
                <c:pt idx="10">
                  <c:v>4.1606711896800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Hist.woningen in bewoonde oorden</c:v>
                </c:pt>
                <c:pt idx="4">
                  <c:v>Klantenpotentieel regionaal</c:v>
                </c:pt>
                <c:pt idx="5">
                  <c:v>Opp. historische kernen 40-64 ha</c:v>
                </c:pt>
                <c:pt idx="6">
                  <c:v>Opp. historische kernen &lt;40 ha</c:v>
                </c:pt>
                <c:pt idx="10">
                  <c:v>Overig</c:v>
                </c:pt>
              </c:strCache>
            </c:strRef>
          </c:cat>
          <c:val>
            <c:numRef>
              <c:f>Sheet1!$B$2:$B$12</c:f>
              <c:numCache>
                <c:formatCode>General</c:formatCode>
                <c:ptCount val="11"/>
                <c:pt idx="0">
                  <c:v>1.5456624440400002</c:v>
                </c:pt>
                <c:pt idx="1">
                  <c:v>1.0276500000000002</c:v>
                </c:pt>
                <c:pt idx="2">
                  <c:v>1.0064228132399999</c:v>
                </c:pt>
                <c:pt idx="3">
                  <c:v>0.32203601039999996</c:v>
                </c:pt>
                <c:pt idx="4">
                  <c:v>0.14355827199999999</c:v>
                </c:pt>
                <c:pt idx="5">
                  <c:v>2.88346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0.91680388612255</c:v>
                </c:pt>
                <c:pt idx="1">
                  <c:v>-133.82604073593777</c:v>
                </c:pt>
                <c:pt idx="2">
                  <c:v>-125.828007772194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0.91680388612255</c:v>
                </c:pt>
                <c:pt idx="1">
                  <c:v>-133.82604073593777</c:v>
                </c:pt>
                <c:pt idx="2">
                  <c:v>-125.8280077721943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8.6507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2844693396509994</c:v>
                </c:pt>
                <c:pt idx="1">
                  <c:v>5.481749908696206</c:v>
                </c:pt>
                <c:pt idx="2">
                  <c:v>5.757638537554647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3179000000000003E-2</c:v>
                </c:pt>
                <c:pt idx="1">
                  <c:v>8.3179000000000003E-2</c:v>
                </c:pt>
                <c:pt idx="2">
                  <c:v>8.3179000000000003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676483396509997</c:v>
                </c:pt>
                <c:pt idx="1">
                  <c:v>5.5649289086962064</c:v>
                </c:pt>
                <c:pt idx="2">
                  <c:v>5.840817537554648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6.01804176504652</c:v>
                </c:pt>
                <c:pt idx="1">
                  <c:v>296.19873068007814</c:v>
                </c:pt>
                <c:pt idx="2">
                  <c:v>311.105988953079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5020025979649274</c:v>
                </c:pt>
                <c:pt idx="1">
                  <c:v>4.4944615550872644</c:v>
                </c:pt>
                <c:pt idx="2">
                  <c:v>4.494461555087264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90.52004436301144</c:v>
                </c:pt>
                <c:pt idx="1">
                  <c:v>300.69319223516544</c:v>
                </c:pt>
                <c:pt idx="2">
                  <c:v>315.6004505081671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311.10598895307982</c:v>
                </c:pt>
                <c:pt idx="2">
                  <c:v>298.90625313982002</c:v>
                </c:pt>
                <c:pt idx="3">
                  <c:v>242.91923020886068</c:v>
                </c:pt>
                <c:pt idx="4">
                  <c:v>292.24429095396528</c:v>
                </c:pt>
                <c:pt idx="5">
                  <c:v>230.1982501052521</c:v>
                </c:pt>
                <c:pt idx="7">
                  <c:v>266.06700610197453</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4.4944615550872644</c:v>
                </c:pt>
                <c:pt idx="2">
                  <c:v>0.86809799361851714</c:v>
                </c:pt>
                <c:pt idx="3">
                  <c:v>3.0686940580179014</c:v>
                </c:pt>
                <c:pt idx="4">
                  <c:v>3.1343499973151481</c:v>
                </c:pt>
                <c:pt idx="5">
                  <c:v>8.1256583497366606</c:v>
                </c:pt>
                <c:pt idx="7">
                  <c:v>3.7992000996720567</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315.60045050816711</c:v>
                </c:pt>
                <c:pt idx="2">
                  <c:v>299.77435113343853</c:v>
                </c:pt>
                <c:pt idx="3">
                  <c:v>245.98792426687859</c:v>
                </c:pt>
                <c:pt idx="4">
                  <c:v>295.37864095128043</c:v>
                </c:pt>
                <c:pt idx="5">
                  <c:v>238.32390845498881</c:v>
                </c:pt>
                <c:pt idx="7">
                  <c:v>269.86620620164661</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3676483396509997</c:v>
                </c:pt>
                <c:pt idx="2">
                  <c:v>5.3975104643768601</c:v>
                </c:pt>
                <c:pt idx="3">
                  <c:v>5.3975104643768601</c:v>
                </c:pt>
                <c:pt idx="4">
                  <c:v>5.5649289086962064</c:v>
                </c:pt>
                <c:pt idx="6">
                  <c:v>5.5649289086962064</c:v>
                </c:pt>
                <c:pt idx="7">
                  <c:v>5.5730906147671924</c:v>
                </c:pt>
                <c:pt idx="8">
                  <c:v>5.5730906147671924</c:v>
                </c:pt>
                <c:pt idx="9">
                  <c:v>5.840817537554648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2844693396509994</c:v>
                </c:pt>
                <c:pt idx="5">
                  <c:v>5.481749908696206</c:v>
                </c:pt>
                <c:pt idx="10">
                  <c:v>5.757638537554647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210999130031162E-2</c:v>
                </c:pt>
                <c:pt idx="3">
                  <c:v>0.16741844431934583</c:v>
                </c:pt>
                <c:pt idx="6">
                  <c:v>2.6112090682081437E-2</c:v>
                </c:pt>
                <c:pt idx="8">
                  <c:v>0.2677269227874562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247866574450811E-3</c:v>
                </c:pt>
                <c:pt idx="7">
                  <c:v>1.795038461109579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3179000000000003E-2</c:v>
                </c:pt>
                <c:pt idx="5">
                  <c:v>8.3179000000000003E-2</c:v>
                </c:pt>
                <c:pt idx="10">
                  <c:v>8.3179000000000003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3676483396509997</c:v>
                </c:pt>
                <c:pt idx="5">
                  <c:v>5.5649289086962064</c:v>
                </c:pt>
                <c:pt idx="10">
                  <c:v>5.840817537554648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Opp. bebouwing kern *bodemfactor kern</c:v>
                </c:pt>
                <c:pt idx="3">
                  <c:v>Woonruimten * bodemfactor kern</c:v>
                </c:pt>
                <c:pt idx="4">
                  <c:v>Opp. historische kernen 40-64 ha</c:v>
                </c:pt>
                <c:pt idx="5">
                  <c:v>Inwoners</c:v>
                </c:pt>
                <c:pt idx="6">
                  <c:v>Oppervlak bebouwing woonkernen</c:v>
                </c:pt>
                <c:pt idx="7">
                  <c:v>Lengte historisch water</c:v>
                </c:pt>
                <c:pt idx="8">
                  <c:v>Buitenwater</c:v>
                </c:pt>
                <c:pt idx="9">
                  <c:v>Bedrijfsvestigingen</c:v>
                </c:pt>
                <c:pt idx="10">
                  <c:v>Overig</c:v>
                </c:pt>
              </c:strCache>
            </c:strRef>
          </c:cat>
          <c:val>
            <c:numRef>
              <c:f>Sheet1!$B$2:$B$12</c:f>
              <c:numCache>
                <c:formatCode>General</c:formatCode>
                <c:ptCount val="11"/>
                <c:pt idx="0">
                  <c:v>0.80106863408000006</c:v>
                </c:pt>
                <c:pt idx="1">
                  <c:v>0.77644523502259999</c:v>
                </c:pt>
                <c:pt idx="2">
                  <c:v>0.61630691264999993</c:v>
                </c:pt>
                <c:pt idx="3">
                  <c:v>0.57610854924999999</c:v>
                </c:pt>
                <c:pt idx="4">
                  <c:v>0.57423998736000004</c:v>
                </c:pt>
                <c:pt idx="5">
                  <c:v>0.48687919488000003</c:v>
                </c:pt>
                <c:pt idx="6">
                  <c:v>0.36465219648000002</c:v>
                </c:pt>
                <c:pt idx="7">
                  <c:v>0.26873007200000004</c:v>
                </c:pt>
                <c:pt idx="8">
                  <c:v>0.24631359999999999</c:v>
                </c:pt>
                <c:pt idx="9">
                  <c:v>0.21968413376000004</c:v>
                </c:pt>
                <c:pt idx="10">
                  <c:v>0.827210022072047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8.3179000000000003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3387942011748268</c:v>
                </c:pt>
                <c:pt idx="1">
                  <c:v>-0.5531505986553904</c:v>
                </c:pt>
                <c:pt idx="2">
                  <c:v>-0.58537761373194075</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3387942011748268</c:v>
                </c:pt>
                <c:pt idx="1">
                  <c:v>-0.5531505986553904</c:v>
                </c:pt>
                <c:pt idx="2">
                  <c:v>-0.58537761373194075</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895833520106226</c:v>
                </c:pt>
                <c:pt idx="1">
                  <c:v>-29.888723113167472</c:v>
                </c:pt>
                <c:pt idx="2">
                  <c:v>-31.630065041980913</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895833520106226</c:v>
                </c:pt>
                <c:pt idx="1">
                  <c:v>-29.888723113167472</c:v>
                </c:pt>
                <c:pt idx="2">
                  <c:v>-31.630065041980913</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31.630065041980913</c:v>
                </c:pt>
                <c:pt idx="2">
                  <c:v>-43.268572137438056</c:v>
                </c:pt>
                <c:pt idx="3">
                  <c:v>-38.909282670955186</c:v>
                </c:pt>
                <c:pt idx="4">
                  <c:v>-40.089733774555022</c:v>
                </c:pt>
                <c:pt idx="5">
                  <c:v>-38.155293933572956</c:v>
                </c:pt>
                <c:pt idx="7">
                  <c:v>-40.105720629130303</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31.630065041980913</c:v>
                </c:pt>
                <c:pt idx="2">
                  <c:v>-43.268572137438056</c:v>
                </c:pt>
                <c:pt idx="3">
                  <c:v>-38.909282670955186</c:v>
                </c:pt>
                <c:pt idx="4">
                  <c:v>-40.089733774555022</c:v>
                </c:pt>
                <c:pt idx="5">
                  <c:v>-38.155293933572956</c:v>
                </c:pt>
                <c:pt idx="7">
                  <c:v>-40.105720629130303</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125.82800777219431</c:v>
                </c:pt>
                <c:pt idx="2">
                  <c:v>-157.32568709318048</c:v>
                </c:pt>
                <c:pt idx="3">
                  <c:v>-125.46155315863258</c:v>
                </c:pt>
                <c:pt idx="4">
                  <c:v>-179.89000488213497</c:v>
                </c:pt>
                <c:pt idx="5">
                  <c:v>-129.66402443368622</c:v>
                </c:pt>
                <c:pt idx="7">
                  <c:v>-148.08531739190857</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125.82800777219431</c:v>
                </c:pt>
                <c:pt idx="2">
                  <c:v>-157.32568709318048</c:v>
                </c:pt>
                <c:pt idx="3">
                  <c:v>-125.46155315863258</c:v>
                </c:pt>
                <c:pt idx="4">
                  <c:v>-179.89000488213497</c:v>
                </c:pt>
                <c:pt idx="5">
                  <c:v>-129.66402443368622</c:v>
                </c:pt>
                <c:pt idx="7">
                  <c:v>-148.08531739190857</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3624490234904321</c:v>
                </c:pt>
                <c:pt idx="2">
                  <c:v>-0.53624490234904321</c:v>
                </c:pt>
                <c:pt idx="3">
                  <c:v>-0.5531505986553904</c:v>
                </c:pt>
                <c:pt idx="4">
                  <c:v>-0.5531505986553904</c:v>
                </c:pt>
                <c:pt idx="6">
                  <c:v>-0.55818031835255766</c:v>
                </c:pt>
                <c:pt idx="7">
                  <c:v>-0.55818031835255766</c:v>
                </c:pt>
                <c:pt idx="8">
                  <c:v>-0.58537761373194075</c:v>
                </c:pt>
                <c:pt idx="9">
                  <c:v>-0.5853776137319407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3387942011748268</c:v>
                </c:pt>
                <c:pt idx="5">
                  <c:v>-0.5531505986553904</c:v>
                </c:pt>
                <c:pt idx="10">
                  <c:v>-0.5853776137319407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3654822315604699E-3</c:v>
                </c:pt>
                <c:pt idx="3">
                  <c:v>1.6905696306347247E-2</c:v>
                </c:pt>
                <c:pt idx="6">
                  <c:v>5.0297196971672616E-3</c:v>
                </c:pt>
                <c:pt idx="8">
                  <c:v>2.7197295379383087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3387942011748268</c:v>
                </c:pt>
                <c:pt idx="5">
                  <c:v>-0.5531505986553904</c:v>
                </c:pt>
                <c:pt idx="10">
                  <c:v>-0.5853776137319407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everlengte *dichtheid *bodemf. gem.</c:v>
                </c:pt>
                <c:pt idx="4">
                  <c:v>Omgevingsadressendichtheid</c:v>
                </c:pt>
                <c:pt idx="5">
                  <c:v>Oeverlengte * bodemfactor gemeente</c:v>
                </c:pt>
                <c:pt idx="6">
                  <c:v>Land</c:v>
                </c:pt>
                <c:pt idx="7">
                  <c:v>Land * bodemfactor gemeente</c:v>
                </c:pt>
                <c:pt idx="10">
                  <c:v>Overig</c:v>
                </c:pt>
              </c:strCache>
            </c:strRef>
          </c:cat>
          <c:val>
            <c:numRef>
              <c:f>Sheet1!$B$2:$B$12</c:f>
              <c:numCache>
                <c:formatCode>General</c:formatCode>
                <c:ptCount val="11"/>
                <c:pt idx="0">
                  <c:v>-0.91446256564000006</c:v>
                </c:pt>
                <c:pt idx="1">
                  <c:v>0.33401752280000002</c:v>
                </c:pt>
                <c:pt idx="2">
                  <c:v>-0.16318806348000001</c:v>
                </c:pt>
                <c:pt idx="3">
                  <c:v>8.8961583726219123E-2</c:v>
                </c:pt>
                <c:pt idx="4">
                  <c:v>6.0047749289840011E-2</c:v>
                </c:pt>
                <c:pt idx="5">
                  <c:v>1.2043506696000001E-2</c:v>
                </c:pt>
                <c:pt idx="6">
                  <c:v>-6.0563646000000009E-3</c:v>
                </c:pt>
                <c:pt idx="7">
                  <c:v>3.2590174760000002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545635606524</c:v>
                </c:pt>
                <c:pt idx="1">
                  <c:v>1.6156768886516</c:v>
                </c:pt>
                <c:pt idx="2">
                  <c:v>1.705855301646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545635606524</c:v>
                </c:pt>
                <c:pt idx="1">
                  <c:v>1.6156768886516</c:v>
                </c:pt>
                <c:pt idx="2">
                  <c:v>1.705855301646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139616835483864</c:v>
                </c:pt>
                <c:pt idx="1">
                  <c:v>87.300853117825682</c:v>
                </c:pt>
                <c:pt idx="2">
                  <c:v>92.17351821721943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4.139616835483864</c:v>
                </c:pt>
                <c:pt idx="1">
                  <c:v>87.300853117825682</c:v>
                </c:pt>
                <c:pt idx="2">
                  <c:v>92.17351821721943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92.173518217219438</c:v>
                </c:pt>
                <c:pt idx="2">
                  <c:v>98.982857242342789</c:v>
                </c:pt>
                <c:pt idx="3">
                  <c:v>74.749486539674322</c:v>
                </c:pt>
                <c:pt idx="4">
                  <c:v>86.087168991831589</c:v>
                </c:pt>
                <c:pt idx="5">
                  <c:v>91.487526486056282</c:v>
                </c:pt>
                <c:pt idx="7">
                  <c:v>87.826759814976242</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92.173518217219438</c:v>
                </c:pt>
                <c:pt idx="2">
                  <c:v>98.982857242342789</c:v>
                </c:pt>
                <c:pt idx="3">
                  <c:v>74.749486539674322</c:v>
                </c:pt>
                <c:pt idx="4">
                  <c:v>86.087168991831589</c:v>
                </c:pt>
                <c:pt idx="5">
                  <c:v>91.487526486056282</c:v>
                </c:pt>
                <c:pt idx="7">
                  <c:v>87.826759814976242</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5545635606524</c:v>
                </c:pt>
                <c:pt idx="2">
                  <c:v>1.5663422001350331</c:v>
                </c:pt>
                <c:pt idx="3">
                  <c:v>1.5663422001350331</c:v>
                </c:pt>
                <c:pt idx="4">
                  <c:v>1.6156768886516</c:v>
                </c:pt>
                <c:pt idx="6">
                  <c:v>1.6156768886516</c:v>
                </c:pt>
                <c:pt idx="7">
                  <c:v>1.6265522087164339</c:v>
                </c:pt>
                <c:pt idx="8">
                  <c:v>1.6265522087164339</c:v>
                </c:pt>
                <c:pt idx="9">
                  <c:v>1.7058553016460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5545635606524</c:v>
                </c:pt>
                <c:pt idx="5">
                  <c:v>1.6156768886516</c:v>
                </c:pt>
                <c:pt idx="10">
                  <c:v>1.7058553016460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1778639482633198E-2</c:v>
                </c:pt>
                <c:pt idx="3">
                  <c:v>4.9334688516566791E-2</c:v>
                </c:pt>
                <c:pt idx="6">
                  <c:v>1.0875320064834021E-2</c:v>
                </c:pt>
                <c:pt idx="8">
                  <c:v>7.930309292964601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5545635606524</c:v>
                </c:pt>
                <c:pt idx="5">
                  <c:v>1.6156768886516</c:v>
                </c:pt>
                <c:pt idx="10">
                  <c:v>1.7058553016460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Woz waarde niet woningen (in mln)</c:v>
                </c:pt>
                <c:pt idx="3">
                  <c:v>Buitenwater</c:v>
                </c:pt>
                <c:pt idx="4">
                  <c:v>Kernen met minstens 500 adressen</c:v>
                </c:pt>
                <c:pt idx="5">
                  <c:v>Minderheden</c:v>
                </c:pt>
                <c:pt idx="6">
                  <c:v>Huishoudens laag inkomen (drempel)</c:v>
                </c:pt>
                <c:pt idx="7">
                  <c:v>Klantenpotentieel regionaal</c:v>
                </c:pt>
                <c:pt idx="8">
                  <c:v>Opp. bebouwing totaal</c:v>
                </c:pt>
                <c:pt idx="9">
                  <c:v>Klantenpotentieel lokaal</c:v>
                </c:pt>
                <c:pt idx="10">
                  <c:v>Overig</c:v>
                </c:pt>
              </c:strCache>
            </c:strRef>
          </c:cat>
          <c:val>
            <c:numRef>
              <c:f>Sheet1!$B$2:$B$12</c:f>
              <c:numCache>
                <c:formatCode>General</c:formatCode>
                <c:ptCount val="11"/>
                <c:pt idx="0">
                  <c:v>0.84092136855999999</c:v>
                </c:pt>
                <c:pt idx="1">
                  <c:v>0.26325569556208006</c:v>
                </c:pt>
                <c:pt idx="2">
                  <c:v>0.15110845604400003</c:v>
                </c:pt>
                <c:pt idx="3">
                  <c:v>0.1239628</c:v>
                </c:pt>
                <c:pt idx="4">
                  <c:v>8.9495660800000015E-2</c:v>
                </c:pt>
                <c:pt idx="5">
                  <c:v>7.4098642800000003E-2</c:v>
                </c:pt>
                <c:pt idx="6">
                  <c:v>4.5906842279999999E-2</c:v>
                </c:pt>
                <c:pt idx="7">
                  <c:v>3.2626880000000004E-2</c:v>
                </c:pt>
                <c:pt idx="8">
                  <c:v>2.499786432E-2</c:v>
                </c:pt>
                <c:pt idx="9">
                  <c:v>2.0250750000000001E-2</c:v>
                </c:pt>
                <c:pt idx="10">
                  <c:v>3.9230341280000136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939414276279997</c:v>
                </c:pt>
                <c:pt idx="1">
                  <c:v>2.1747573078957503</c:v>
                </c:pt>
                <c:pt idx="2">
                  <c:v>2.2852199808125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6.9593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939414276279997</c:v>
                </c:pt>
                <c:pt idx="1">
                  <c:v>2.1747573078957503</c:v>
                </c:pt>
                <c:pt idx="2">
                  <c:v>2.35481298081259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3.33304977419354</c:v>
                </c:pt>
                <c:pt idx="1">
                  <c:v>117.50998583756147</c:v>
                </c:pt>
                <c:pt idx="2">
                  <c:v>123.478682704522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760360944507483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3.33304977419354</c:v>
                </c:pt>
                <c:pt idx="1">
                  <c:v>117.50998583756147</c:v>
                </c:pt>
                <c:pt idx="2">
                  <c:v>127.239043649030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4721439817036379</c:v>
                </c:pt>
                <c:pt idx="2">
                  <c:v>-2.4721439817036379</c:v>
                </c:pt>
                <c:pt idx="3">
                  <c:v>-2.4767185358999999</c:v>
                </c:pt>
                <c:pt idx="4">
                  <c:v>-2.4767185358999999</c:v>
                </c:pt>
                <c:pt idx="6">
                  <c:v>-2.4893514620706974</c:v>
                </c:pt>
                <c:pt idx="7">
                  <c:v>-2.4893514620706974</c:v>
                </c:pt>
                <c:pt idx="8">
                  <c:v>-2.3286989398400002</c:v>
                </c:pt>
                <c:pt idx="9">
                  <c:v>-2.328698939840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4188188686000003</c:v>
                </c:pt>
                <c:pt idx="5">
                  <c:v>-2.4767185358999999</c:v>
                </c:pt>
                <c:pt idx="10">
                  <c:v>-2.328698939840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926703622480667E-2</c:v>
                </c:pt>
                <c:pt idx="7">
                  <c:v>0.582786262512765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3325113103637523E-2</c:v>
                </c:pt>
                <c:pt idx="3">
                  <c:v>3.3841590421168771E-2</c:v>
                </c:pt>
                <c:pt idx="6">
                  <c:v>1.2632926170697337E-2</c:v>
                </c:pt>
                <c:pt idx="8">
                  <c:v>0.4221337402820686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4188188686000003</c:v>
                </c:pt>
                <c:pt idx="5">
                  <c:v>-2.4767185358999999</c:v>
                </c:pt>
                <c:pt idx="10">
                  <c:v>-2.32869893984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C$2:$C$10</c:f>
              <c:numCache>
                <c:formatCode>General</c:formatCode>
                <c:ptCount val="9"/>
                <c:pt idx="0">
                  <c:v>123.47868270452261</c:v>
                </c:pt>
                <c:pt idx="2">
                  <c:v>123.54445061463414</c:v>
                </c:pt>
                <c:pt idx="3">
                  <c:v>119.96537576814411</c:v>
                </c:pt>
                <c:pt idx="4">
                  <c:v>121.52717345559792</c:v>
                </c:pt>
                <c:pt idx="5">
                  <c:v>120.84238990971964</c:v>
                </c:pt>
                <c:pt idx="7">
                  <c:v>121.46984743702396</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D$2:$D$10</c:f>
              <c:numCache>
                <c:formatCode>General</c:formatCode>
                <c:ptCount val="9"/>
                <c:pt idx="0">
                  <c:v>3.7603609445074837</c:v>
                </c:pt>
                <c:pt idx="2">
                  <c:v>3.7636147314909958</c:v>
                </c:pt>
                <c:pt idx="3">
                  <c:v>3.752453359214925</c:v>
                </c:pt>
                <c:pt idx="4">
                  <c:v>3.7369381947054716</c:v>
                </c:pt>
                <c:pt idx="5">
                  <c:v>3.7023461190615525</c:v>
                </c:pt>
                <c:pt idx="7">
                  <c:v>3.7388381011182359</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khuizen</c:v>
                </c:pt>
                <c:pt idx="2">
                  <c:v>Bergeijk</c:v>
                </c:pt>
                <c:pt idx="3">
                  <c:v>Heerde</c:v>
                </c:pt>
                <c:pt idx="4">
                  <c:v>Oirschot</c:v>
                </c:pt>
                <c:pt idx="5">
                  <c:v>Druten</c:v>
                </c:pt>
                <c:pt idx="7">
                  <c:v>4 gemeenten</c:v>
                </c:pt>
                <c:pt idx="8">
                  <c:v>Landelijk</c:v>
                </c:pt>
              </c:strCache>
            </c:strRef>
          </c:cat>
          <c:val>
            <c:numRef>
              <c:f>Sheet1!$B$2:$B$10</c:f>
              <c:numCache>
                <c:formatCode>General</c:formatCode>
                <c:ptCount val="9"/>
                <c:pt idx="0">
                  <c:v>127.23904364903007</c:v>
                </c:pt>
                <c:pt idx="2">
                  <c:v>127.3080653461251</c:v>
                </c:pt>
                <c:pt idx="3">
                  <c:v>123.71782912735904</c:v>
                </c:pt>
                <c:pt idx="4">
                  <c:v>125.26411165030336</c:v>
                </c:pt>
                <c:pt idx="5">
                  <c:v>124.5447360287812</c:v>
                </c:pt>
                <c:pt idx="7">
                  <c:v>125.20868553814218</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939414276279997</c:v>
                </c:pt>
                <c:pt idx="2">
                  <c:v>2.1002949703044504</c:v>
                </c:pt>
                <c:pt idx="3">
                  <c:v>2.1083246418827084</c:v>
                </c:pt>
                <c:pt idx="4">
                  <c:v>2.1747573078957503</c:v>
                </c:pt>
                <c:pt idx="6">
                  <c:v>2.1747573078957503</c:v>
                </c:pt>
                <c:pt idx="7">
                  <c:v>2.1789052979214536</c:v>
                </c:pt>
                <c:pt idx="8">
                  <c:v>2.1789052979214536</c:v>
                </c:pt>
                <c:pt idx="9">
                  <c:v>2.2852199808125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0939414276279997</c:v>
                </c:pt>
                <c:pt idx="5">
                  <c:v>2.1747573078957503</c:v>
                </c:pt>
                <c:pt idx="10">
                  <c:v>2.2852199808125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3535426764507411E-3</c:v>
                </c:pt>
                <c:pt idx="2">
                  <c:v>8.0296715782581587E-3</c:v>
                </c:pt>
                <c:pt idx="3">
                  <c:v>6.6432666013041652E-2</c:v>
                </c:pt>
                <c:pt idx="6">
                  <c:v>5.0029114498419203E-3</c:v>
                </c:pt>
                <c:pt idx="8">
                  <c:v>0.1063146828911460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8.5492142413858495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6.9593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6.9593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939414276279997</c:v>
                </c:pt>
                <c:pt idx="5">
                  <c:v>2.1747573078957503</c:v>
                </c:pt>
                <c:pt idx="10">
                  <c:v>2.354812980812599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woonde oorden 1930</c:v>
                </c:pt>
                <c:pt idx="5">
                  <c:v>Klantenpotentieel regionaal</c:v>
                </c:pt>
                <c:pt idx="6">
                  <c:v>Minderheden</c:v>
                </c:pt>
                <c:pt idx="7">
                  <c:v>Bedrijfsvestigingen</c:v>
                </c:pt>
                <c:pt idx="8">
                  <c:v>Land</c:v>
                </c:pt>
                <c:pt idx="9">
                  <c:v>Minderheden (drempel)</c:v>
                </c:pt>
                <c:pt idx="10">
                  <c:v>Overig</c:v>
                </c:pt>
              </c:strCache>
            </c:strRef>
          </c:cat>
          <c:val>
            <c:numRef>
              <c:f>Sheet1!$B$2:$B$12</c:f>
              <c:numCache>
                <c:formatCode>General</c:formatCode>
                <c:ptCount val="11"/>
                <c:pt idx="0">
                  <c:v>1.5223924825200004</c:v>
                </c:pt>
                <c:pt idx="1">
                  <c:v>0.4745055796</c:v>
                </c:pt>
                <c:pt idx="2">
                  <c:v>0.28248488112000003</c:v>
                </c:pt>
                <c:pt idx="3">
                  <c:v>-6.8597594387400013E-2</c:v>
                </c:pt>
                <c:pt idx="4">
                  <c:v>6.5503942400000015E-2</c:v>
                </c:pt>
                <c:pt idx="5">
                  <c:v>-4.2741212800000011E-2</c:v>
                </c:pt>
                <c:pt idx="6">
                  <c:v>2.6861078400000002E-2</c:v>
                </c:pt>
                <c:pt idx="7">
                  <c:v>2.2751252160000002E-2</c:v>
                </c:pt>
                <c:pt idx="8">
                  <c:v>2.059571800000000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6.9593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1.3093415999999998</c:v>
                </c:pt>
                <c:pt idx="1">
                  <c:v>-0.38333169783999999</c:v>
                </c:pt>
                <c:pt idx="2">
                  <c:v>-0.35241633700000008</c:v>
                </c:pt>
                <c:pt idx="3">
                  <c:v>-0.339972885</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370736332975997</c:v>
                </c:pt>
                <c:pt idx="1">
                  <c:v>2.548854913887459</c:v>
                </c:pt>
                <c:pt idx="2">
                  <c:v>2.61523944605352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9135000000000006E-2</c:v>
                </c:pt>
                <c:pt idx="1">
                  <c:v>1.8469679999999999</c:v>
                </c:pt>
                <c:pt idx="2">
                  <c:v>1.860721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262086332975999</c:v>
                </c:pt>
                <c:pt idx="1">
                  <c:v>4.3958229138874589</c:v>
                </c:pt>
                <c:pt idx="2">
                  <c:v>4.47596044605352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1.769758998419892</cx:pt>
          <cx:pt idx="1">-2.3286989398400002</cx:pt>
          <cx:pt idx="2">29.441060058579893</cx:pt>
          <cx:pt idx="3">3.657041999999997</cx:pt>
          <cx:pt idx="4">33.09810205857989</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Enkhuiz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Enkhuizen is ca. 33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362544801"/>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9,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1,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Enkhuizen is ca. 33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154052521"/>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2280307145"/>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2074067675"/>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68519627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9,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Enkhuizen is ca. 33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0170975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7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8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92,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1,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Enkhuizen ca. 1.788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429964187"/>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Enkhuiz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8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4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342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93346391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65362070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67896489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2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3949665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47548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52940984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837880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26364540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31466411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674163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88889769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25140380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4201305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02104511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6336768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3505332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7623393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725633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5272230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6884417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668090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059861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7876181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223257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4495817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0502184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59319005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833854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5113056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67671276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10060472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18677182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4546241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9189612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98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6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6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76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63722751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8189883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00974818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3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01281596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1608361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9476923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6735169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7989570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2183729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226046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3728645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557685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96348142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4202955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26877157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1862694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83010577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7919208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6387049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3174474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05386887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4840238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98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6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65</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4063922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61061046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9420141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6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32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1358852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61400610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08290404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4958946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7283392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2971272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8878188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460145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7761579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5340532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2439974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9914823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219160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0378768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2167005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6506355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1429270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1983043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7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8733973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67865319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513712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7044892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60045984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2205603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6534992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86157780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4021435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76760953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7614488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532409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5079137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4756613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4784036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1479211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ngte historisch 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2078732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0797498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2049577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6927904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66355982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399853643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9242465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01145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9472730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796092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2897854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6479725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57201840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5668516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803641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0098730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7918288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172694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Enkhuiz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38572851"/>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5483712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830514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10529464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62140538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5805578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8726672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92527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7609915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8.47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50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74754719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66632989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8525396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0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49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5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6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4.4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909736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107563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2253223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43234836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45701419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Enkhuiz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50516000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9,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Enkhuizen is ca. 33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0680540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7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8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93</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Enkhuizen ca. 1.788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628644575"/>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Enkhuiz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18.507</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Bergeijk</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49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Heerd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54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Oirschot</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62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Drut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79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732090520"/>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Enkhuiz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8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4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42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Enkhuiz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761300647"/>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4279535096"/>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Enkhuiz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6</TotalTime>
  <Words>9709</Words>
  <Application>Microsoft Office PowerPoint</Application>
  <PresentationFormat>Widescreen</PresentationFormat>
  <Paragraphs>2187</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Enkhuizen is ca. 33 mln (1/3)</vt:lpstr>
      <vt:lpstr>Totale uitkering voor Enkhuizen is ca. 33 mln (2/3)</vt:lpstr>
      <vt:lpstr>Totale uitkering voor Enkhuizen is ca. 33 mln (3/3)</vt:lpstr>
      <vt:lpstr>Per inwoner ontvangt Enkhuizen ca. 1.788 euro</vt:lpstr>
      <vt:lpstr>Dit is ca. 342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Enkhuizen is ca. 33 mln</vt:lpstr>
      <vt:lpstr>Per inwoner ontvangt Enkhuizen ca. 1.788 euro</vt:lpstr>
      <vt:lpstr>Dit is ca. €342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12:27:30Z</dcterms:modified>
</cp:coreProperties>
</file>